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0"/>
  </p:notesMasterIdLst>
  <p:sldIdLst>
    <p:sldId id="366" r:id="rId2"/>
    <p:sldId id="370" r:id="rId3"/>
    <p:sldId id="374" r:id="rId4"/>
    <p:sldId id="375" r:id="rId5"/>
    <p:sldId id="376" r:id="rId6"/>
    <p:sldId id="377" r:id="rId7"/>
    <p:sldId id="378" r:id="rId8"/>
    <p:sldId id="368" r:id="rId9"/>
  </p:sldIdLst>
  <p:sldSz cx="12192000" cy="6858000"/>
  <p:notesSz cx="6858000" cy="9144000"/>
  <p:embeddedFontLst>
    <p:embeddedFont>
      <p:font typeface="Rubik" panose="00000500000000000000" pitchFamily="50" charset="-79"/>
      <p:regular r:id="rId11"/>
      <p:bold r:id="rId12"/>
      <p:italic r:id="rId13"/>
    </p:embeddedFont>
    <p:embeddedFont>
      <p:font typeface="Trebuchet MS" panose="020B060302020202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2D2261-8629-4E1D-B31E-65D55FEC258F}" v="53" dt="2022-01-28T08:21:52.782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9" d="100"/>
          <a:sy n="89" d="100"/>
        </p:scale>
        <p:origin x="302" y="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 A, Srinidhi" userId="fa3f4cb9-8302-4d19-a7f9-7a176968b043" providerId="ADAL" clId="{612D2261-8629-4E1D-B31E-65D55FEC258F}"/>
    <pc:docChg chg="undo custSel addSld delSld modSld sldOrd">
      <pc:chgData name="B A, Srinidhi" userId="fa3f4cb9-8302-4d19-a7f9-7a176968b043" providerId="ADAL" clId="{612D2261-8629-4E1D-B31E-65D55FEC258F}" dt="2022-01-28T08:22:06.380" v="1774" actId="20577"/>
      <pc:docMkLst>
        <pc:docMk/>
      </pc:docMkLst>
      <pc:sldChg chg="addSp delSp modSp mod">
        <pc:chgData name="B A, Srinidhi" userId="fa3f4cb9-8302-4d19-a7f9-7a176968b043" providerId="ADAL" clId="{612D2261-8629-4E1D-B31E-65D55FEC258F}" dt="2022-01-28T06:12:26.634" v="249" actId="20577"/>
        <pc:sldMkLst>
          <pc:docMk/>
          <pc:sldMk cId="684571084" sldId="366"/>
        </pc:sldMkLst>
        <pc:spChg chg="add mod">
          <ac:chgData name="B A, Srinidhi" userId="fa3f4cb9-8302-4d19-a7f9-7a176968b043" providerId="ADAL" clId="{612D2261-8629-4E1D-B31E-65D55FEC258F}" dt="2022-01-27T17:22:55.207" v="82" actId="113"/>
          <ac:spMkLst>
            <pc:docMk/>
            <pc:sldMk cId="684571084" sldId="366"/>
            <ac:spMk id="5" creationId="{8E47BD69-7527-43FB-8AC4-81BAC50BE686}"/>
          </ac:spMkLst>
        </pc:spChg>
        <pc:spChg chg="mod">
          <ac:chgData name="B A, Srinidhi" userId="fa3f4cb9-8302-4d19-a7f9-7a176968b043" providerId="ADAL" clId="{612D2261-8629-4E1D-B31E-65D55FEC258F}" dt="2022-01-28T06:12:26.634" v="249" actId="20577"/>
          <ac:spMkLst>
            <pc:docMk/>
            <pc:sldMk cId="684571084" sldId="366"/>
            <ac:spMk id="16" creationId="{6D6DA9F7-DB64-4567-BE8E-E069C1B10127}"/>
          </ac:spMkLst>
        </pc:spChg>
        <pc:spChg chg="del">
          <ac:chgData name="B A, Srinidhi" userId="fa3f4cb9-8302-4d19-a7f9-7a176968b043" providerId="ADAL" clId="{612D2261-8629-4E1D-B31E-65D55FEC258F}" dt="2022-01-27T17:20:08.578" v="18" actId="478"/>
          <ac:spMkLst>
            <pc:docMk/>
            <pc:sldMk cId="684571084" sldId="366"/>
            <ac:spMk id="17" creationId="{86EFEFE6-40D8-4F98-A8DC-DB4A69331A78}"/>
          </ac:spMkLst>
        </pc:spChg>
        <pc:spChg chg="del mod">
          <ac:chgData name="B A, Srinidhi" userId="fa3f4cb9-8302-4d19-a7f9-7a176968b043" providerId="ADAL" clId="{612D2261-8629-4E1D-B31E-65D55FEC258F}" dt="2022-01-27T17:21:15.665" v="53" actId="478"/>
          <ac:spMkLst>
            <pc:docMk/>
            <pc:sldMk cId="684571084" sldId="366"/>
            <ac:spMk id="18" creationId="{1A8455E1-E124-45CE-B4DD-AE99CCF9A248}"/>
          </ac:spMkLst>
        </pc:spChg>
        <pc:spChg chg="del mod">
          <ac:chgData name="B A, Srinidhi" userId="fa3f4cb9-8302-4d19-a7f9-7a176968b043" providerId="ADAL" clId="{612D2261-8629-4E1D-B31E-65D55FEC258F}" dt="2022-01-27T17:19:55.806" v="16" actId="478"/>
          <ac:spMkLst>
            <pc:docMk/>
            <pc:sldMk cId="684571084" sldId="366"/>
            <ac:spMk id="19" creationId="{BBAF474D-C48B-47A3-AD43-776B973A4A16}"/>
          </ac:spMkLst>
        </pc:spChg>
        <pc:picChg chg="add mod ord">
          <ac:chgData name="B A, Srinidhi" userId="fa3f4cb9-8302-4d19-a7f9-7a176968b043" providerId="ADAL" clId="{612D2261-8629-4E1D-B31E-65D55FEC258F}" dt="2022-01-27T17:19:49.862" v="14" actId="167"/>
          <ac:picMkLst>
            <pc:docMk/>
            <pc:sldMk cId="684571084" sldId="366"/>
            <ac:picMk id="3" creationId="{66C5CBA5-EEC0-4D4B-BF3A-396F27273968}"/>
          </ac:picMkLst>
        </pc:picChg>
        <pc:picChg chg="add mod">
          <ac:chgData name="B A, Srinidhi" userId="fa3f4cb9-8302-4d19-a7f9-7a176968b043" providerId="ADAL" clId="{612D2261-8629-4E1D-B31E-65D55FEC258F}" dt="2022-01-27T17:22:25.149" v="61" actId="1076"/>
          <ac:picMkLst>
            <pc:docMk/>
            <pc:sldMk cId="684571084" sldId="366"/>
            <ac:picMk id="9" creationId="{576C6086-A47A-472A-A7EE-EAAD5EE3EC52}"/>
          </ac:picMkLst>
        </pc:picChg>
        <pc:picChg chg="add mod">
          <ac:chgData name="B A, Srinidhi" userId="fa3f4cb9-8302-4d19-a7f9-7a176968b043" providerId="ADAL" clId="{612D2261-8629-4E1D-B31E-65D55FEC258F}" dt="2022-01-27T17:24:04.071" v="87" actId="1076"/>
          <ac:picMkLst>
            <pc:docMk/>
            <pc:sldMk cId="684571084" sldId="366"/>
            <ac:picMk id="11" creationId="{7922711B-B0FF-4E94-8B6D-1CC3F2375EFC}"/>
          </ac:picMkLst>
        </pc:picChg>
      </pc:sldChg>
      <pc:sldChg chg="modSp add del mod">
        <pc:chgData name="B A, Srinidhi" userId="fa3f4cb9-8302-4d19-a7f9-7a176968b043" providerId="ADAL" clId="{612D2261-8629-4E1D-B31E-65D55FEC258F}" dt="2022-01-28T06:14:12.921" v="370" actId="2696"/>
        <pc:sldMkLst>
          <pc:docMk/>
          <pc:sldMk cId="1022597847" sldId="367"/>
        </pc:sldMkLst>
        <pc:spChg chg="mod">
          <ac:chgData name="B A, Srinidhi" userId="fa3f4cb9-8302-4d19-a7f9-7a176968b043" providerId="ADAL" clId="{612D2261-8629-4E1D-B31E-65D55FEC258F}" dt="2022-01-27T17:24:39.405" v="96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B A, Srinidhi" userId="fa3f4cb9-8302-4d19-a7f9-7a176968b043" providerId="ADAL" clId="{612D2261-8629-4E1D-B31E-65D55FEC258F}" dt="2022-01-27T17:26:11.273" v="142" actId="20577"/>
          <ac:spMkLst>
            <pc:docMk/>
            <pc:sldMk cId="1022597847" sldId="367"/>
            <ac:spMk id="5" creationId="{3A241BE6-0BF2-4E13-B760-9657E2456D22}"/>
          </ac:spMkLst>
        </pc:spChg>
        <pc:spChg chg="mod">
          <ac:chgData name="B A, Srinidhi" userId="fa3f4cb9-8302-4d19-a7f9-7a176968b043" providerId="ADAL" clId="{612D2261-8629-4E1D-B31E-65D55FEC258F}" dt="2022-01-28T06:14:12.582" v="367" actId="12"/>
          <ac:spMkLst>
            <pc:docMk/>
            <pc:sldMk cId="1022597847" sldId="367"/>
            <ac:spMk id="6" creationId="{525CBB0E-B869-4882-8948-65DD257EDC97}"/>
          </ac:spMkLst>
        </pc:spChg>
      </pc:sldChg>
      <pc:sldChg chg="delSp add del mod">
        <pc:chgData name="B A, Srinidhi" userId="fa3f4cb9-8302-4d19-a7f9-7a176968b043" providerId="ADAL" clId="{612D2261-8629-4E1D-B31E-65D55FEC258F}" dt="2022-01-28T07:54:57.053" v="1091" actId="47"/>
        <pc:sldMkLst>
          <pc:docMk/>
          <pc:sldMk cId="479599283" sldId="369"/>
        </pc:sldMkLst>
        <pc:picChg chg="del">
          <ac:chgData name="B A, Srinidhi" userId="fa3f4cb9-8302-4d19-a7f9-7a176968b043" providerId="ADAL" clId="{612D2261-8629-4E1D-B31E-65D55FEC258F}" dt="2022-01-28T07:53:46.882" v="1042" actId="478"/>
          <ac:picMkLst>
            <pc:docMk/>
            <pc:sldMk cId="479599283" sldId="369"/>
            <ac:picMk id="8" creationId="{C0330645-5466-4DBC-BD81-4AD95C093F1C}"/>
          </ac:picMkLst>
        </pc:picChg>
      </pc:sldChg>
      <pc:sldChg chg="addSp delSp modSp del mod">
        <pc:chgData name="B A, Srinidhi" userId="fa3f4cb9-8302-4d19-a7f9-7a176968b043" providerId="ADAL" clId="{612D2261-8629-4E1D-B31E-65D55FEC258F}" dt="2022-01-28T07:53:36.253" v="1040" actId="47"/>
        <pc:sldMkLst>
          <pc:docMk/>
          <pc:sldMk cId="1336772705" sldId="369"/>
        </pc:sldMkLst>
        <pc:spChg chg="add del mod">
          <ac:chgData name="B A, Srinidhi" userId="fa3f4cb9-8302-4d19-a7f9-7a176968b043" providerId="ADAL" clId="{612D2261-8629-4E1D-B31E-65D55FEC258F}" dt="2022-01-28T07:50:55.196" v="1014" actId="20577"/>
          <ac:spMkLst>
            <pc:docMk/>
            <pc:sldMk cId="1336772705" sldId="369"/>
            <ac:spMk id="5" creationId="{52816D73-16BF-4DE5-9470-389365833768}"/>
          </ac:spMkLst>
        </pc:spChg>
        <pc:spChg chg="add del">
          <ac:chgData name="B A, Srinidhi" userId="fa3f4cb9-8302-4d19-a7f9-7a176968b043" providerId="ADAL" clId="{612D2261-8629-4E1D-B31E-65D55FEC258F}" dt="2022-01-28T07:50:36.698" v="987" actId="478"/>
          <ac:spMkLst>
            <pc:docMk/>
            <pc:sldMk cId="1336772705" sldId="369"/>
            <ac:spMk id="6" creationId="{8300A30E-56D3-4B3A-8CDB-4EC8BF085B07}"/>
          </ac:spMkLst>
        </pc:spChg>
        <pc:picChg chg="add mod">
          <ac:chgData name="B A, Srinidhi" userId="fa3f4cb9-8302-4d19-a7f9-7a176968b043" providerId="ADAL" clId="{612D2261-8629-4E1D-B31E-65D55FEC258F}" dt="2022-01-28T07:52:43.078" v="1029" actId="1035"/>
          <ac:picMkLst>
            <pc:docMk/>
            <pc:sldMk cId="1336772705" sldId="369"/>
            <ac:picMk id="8" creationId="{C0330645-5466-4DBC-BD81-4AD95C093F1C}"/>
          </ac:picMkLst>
        </pc:picChg>
        <pc:picChg chg="add mod">
          <ac:chgData name="B A, Srinidhi" userId="fa3f4cb9-8302-4d19-a7f9-7a176968b043" providerId="ADAL" clId="{612D2261-8629-4E1D-B31E-65D55FEC258F}" dt="2022-01-28T07:52:43.078" v="1029" actId="1035"/>
          <ac:picMkLst>
            <pc:docMk/>
            <pc:sldMk cId="1336772705" sldId="369"/>
            <ac:picMk id="10" creationId="{8217F07E-0A46-4370-AF21-EB4A11EB014D}"/>
          </ac:picMkLst>
        </pc:picChg>
      </pc:sldChg>
      <pc:sldChg chg="modSp add mod ord">
        <pc:chgData name="B A, Srinidhi" userId="fa3f4cb9-8302-4d19-a7f9-7a176968b043" providerId="ADAL" clId="{612D2261-8629-4E1D-B31E-65D55FEC258F}" dt="2022-01-28T06:32:32.534" v="982" actId="20577"/>
        <pc:sldMkLst>
          <pc:docMk/>
          <pc:sldMk cId="491513919" sldId="370"/>
        </pc:sldMkLst>
        <pc:spChg chg="mod">
          <ac:chgData name="B A, Srinidhi" userId="fa3f4cb9-8302-4d19-a7f9-7a176968b043" providerId="ADAL" clId="{612D2261-8629-4E1D-B31E-65D55FEC258F}" dt="2022-01-28T06:32:32.534" v="982" actId="20577"/>
          <ac:spMkLst>
            <pc:docMk/>
            <pc:sldMk cId="491513919" sldId="370"/>
            <ac:spMk id="6" creationId="{525CBB0E-B869-4882-8948-65DD257EDC97}"/>
          </ac:spMkLst>
        </pc:spChg>
      </pc:sldChg>
      <pc:sldChg chg="add del ord">
        <pc:chgData name="B A, Srinidhi" userId="fa3f4cb9-8302-4d19-a7f9-7a176968b043" providerId="ADAL" clId="{612D2261-8629-4E1D-B31E-65D55FEC258F}" dt="2022-01-28T06:13:57.751" v="361"/>
        <pc:sldMkLst>
          <pc:docMk/>
          <pc:sldMk cId="1109945344" sldId="370"/>
        </pc:sldMkLst>
      </pc:sldChg>
      <pc:sldChg chg="modSp add del mod">
        <pc:chgData name="B A, Srinidhi" userId="fa3f4cb9-8302-4d19-a7f9-7a176968b043" providerId="ADAL" clId="{612D2261-8629-4E1D-B31E-65D55FEC258F}" dt="2022-01-28T06:24:30.369" v="508" actId="2696"/>
        <pc:sldMkLst>
          <pc:docMk/>
          <pc:sldMk cId="407182822" sldId="371"/>
        </pc:sldMkLst>
        <pc:spChg chg="mod">
          <ac:chgData name="B A, Srinidhi" userId="fa3f4cb9-8302-4d19-a7f9-7a176968b043" providerId="ADAL" clId="{612D2261-8629-4E1D-B31E-65D55FEC258F}" dt="2022-01-28T06:24:29.846" v="505" actId="12"/>
          <ac:spMkLst>
            <pc:docMk/>
            <pc:sldMk cId="407182822" sldId="371"/>
            <ac:spMk id="6" creationId="{525CBB0E-B869-4882-8948-65DD257EDC97}"/>
          </ac:spMkLst>
        </pc:spChg>
      </pc:sldChg>
      <pc:sldChg chg="modSp add del mod ord">
        <pc:chgData name="B A, Srinidhi" userId="fa3f4cb9-8302-4d19-a7f9-7a176968b043" providerId="ADAL" clId="{612D2261-8629-4E1D-B31E-65D55FEC258F}" dt="2022-01-28T06:24:40.569" v="514" actId="2696"/>
        <pc:sldMkLst>
          <pc:docMk/>
          <pc:sldMk cId="2695180882" sldId="372"/>
        </pc:sldMkLst>
        <pc:spChg chg="mod">
          <ac:chgData name="B A, Srinidhi" userId="fa3f4cb9-8302-4d19-a7f9-7a176968b043" providerId="ADAL" clId="{612D2261-8629-4E1D-B31E-65D55FEC258F}" dt="2022-01-28T06:24:40.189" v="511" actId="12"/>
          <ac:spMkLst>
            <pc:docMk/>
            <pc:sldMk cId="2695180882" sldId="372"/>
            <ac:spMk id="6" creationId="{525CBB0E-B869-4882-8948-65DD257EDC97}"/>
          </ac:spMkLst>
        </pc:spChg>
      </pc:sldChg>
      <pc:sldChg chg="modSp add del mod ord">
        <pc:chgData name="B A, Srinidhi" userId="fa3f4cb9-8302-4d19-a7f9-7a176968b043" providerId="ADAL" clId="{612D2261-8629-4E1D-B31E-65D55FEC258F}" dt="2022-01-28T06:24:53.353" v="520" actId="2696"/>
        <pc:sldMkLst>
          <pc:docMk/>
          <pc:sldMk cId="2879225690" sldId="373"/>
        </pc:sldMkLst>
        <pc:spChg chg="mod">
          <ac:chgData name="B A, Srinidhi" userId="fa3f4cb9-8302-4d19-a7f9-7a176968b043" providerId="ADAL" clId="{612D2261-8629-4E1D-B31E-65D55FEC258F}" dt="2022-01-28T06:24:52.877" v="517" actId="12"/>
          <ac:spMkLst>
            <pc:docMk/>
            <pc:sldMk cId="2879225690" sldId="373"/>
            <ac:spMk id="6" creationId="{525CBB0E-B869-4882-8948-65DD257EDC97}"/>
          </ac:spMkLst>
        </pc:spChg>
      </pc:sldChg>
      <pc:sldChg chg="addSp delSp modSp add mod ord">
        <pc:chgData name="B A, Srinidhi" userId="fa3f4cb9-8302-4d19-a7f9-7a176968b043" providerId="ADAL" clId="{612D2261-8629-4E1D-B31E-65D55FEC258F}" dt="2022-01-28T06:28:49.497" v="972" actId="1076"/>
        <pc:sldMkLst>
          <pc:docMk/>
          <pc:sldMk cId="3943562091" sldId="374"/>
        </pc:sldMkLst>
        <pc:spChg chg="del">
          <ac:chgData name="B A, Srinidhi" userId="fa3f4cb9-8302-4d19-a7f9-7a176968b043" providerId="ADAL" clId="{612D2261-8629-4E1D-B31E-65D55FEC258F}" dt="2022-01-28T06:25:10.361" v="521" actId="478"/>
          <ac:spMkLst>
            <pc:docMk/>
            <pc:sldMk cId="3943562091" sldId="374"/>
            <ac:spMk id="5" creationId="{3A241BE6-0BF2-4E13-B760-9657E2456D22}"/>
          </ac:spMkLst>
        </pc:spChg>
        <pc:spChg chg="mod">
          <ac:chgData name="B A, Srinidhi" userId="fa3f4cb9-8302-4d19-a7f9-7a176968b043" providerId="ADAL" clId="{612D2261-8629-4E1D-B31E-65D55FEC258F}" dt="2022-01-28T06:28:49.497" v="972" actId="1076"/>
          <ac:spMkLst>
            <pc:docMk/>
            <pc:sldMk cId="3943562091" sldId="374"/>
            <ac:spMk id="6" creationId="{525CBB0E-B869-4882-8948-65DD257EDC97}"/>
          </ac:spMkLst>
        </pc:spChg>
        <pc:spChg chg="add del mod">
          <ac:chgData name="B A, Srinidhi" userId="fa3f4cb9-8302-4d19-a7f9-7a176968b043" providerId="ADAL" clId="{612D2261-8629-4E1D-B31E-65D55FEC258F}" dt="2022-01-28T06:25:17.124" v="522" actId="478"/>
          <ac:spMkLst>
            <pc:docMk/>
            <pc:sldMk cId="3943562091" sldId="374"/>
            <ac:spMk id="8" creationId="{E0D77B46-BDC6-4600-8436-1ED1836D5F0D}"/>
          </ac:spMkLst>
        </pc:spChg>
      </pc:sldChg>
      <pc:sldChg chg="addSp delSp modSp add mod">
        <pc:chgData name="B A, Srinidhi" userId="fa3f4cb9-8302-4d19-a7f9-7a176968b043" providerId="ADAL" clId="{612D2261-8629-4E1D-B31E-65D55FEC258F}" dt="2022-01-28T08:16:23.771" v="1567" actId="20577"/>
        <pc:sldMkLst>
          <pc:docMk/>
          <pc:sldMk cId="1686208752" sldId="375"/>
        </pc:sldMkLst>
        <pc:spChg chg="add del">
          <ac:chgData name="B A, Srinidhi" userId="fa3f4cb9-8302-4d19-a7f9-7a176968b043" providerId="ADAL" clId="{612D2261-8629-4E1D-B31E-65D55FEC258F}" dt="2022-01-28T07:53:05.634" v="1033" actId="478"/>
          <ac:spMkLst>
            <pc:docMk/>
            <pc:sldMk cId="1686208752" sldId="375"/>
            <ac:spMk id="2" creationId="{3729475E-5342-4F14-86B6-B051CA586F3F}"/>
          </ac:spMkLst>
        </pc:spChg>
        <pc:spChg chg="del">
          <ac:chgData name="B A, Srinidhi" userId="fa3f4cb9-8302-4d19-a7f9-7a176968b043" providerId="ADAL" clId="{612D2261-8629-4E1D-B31E-65D55FEC258F}" dt="2022-01-28T07:52:59.663" v="1031" actId="478"/>
          <ac:spMkLst>
            <pc:docMk/>
            <pc:sldMk cId="1686208752" sldId="375"/>
            <ac:spMk id="5" creationId="{52816D73-16BF-4DE5-9470-389365833768}"/>
          </ac:spMkLst>
        </pc:spChg>
        <pc:spChg chg="add del mod">
          <ac:chgData name="B A, Srinidhi" userId="fa3f4cb9-8302-4d19-a7f9-7a176968b043" providerId="ADAL" clId="{612D2261-8629-4E1D-B31E-65D55FEC258F}" dt="2022-01-28T07:53:08.397" v="1034" actId="478"/>
          <ac:spMkLst>
            <pc:docMk/>
            <pc:sldMk cId="1686208752" sldId="375"/>
            <ac:spMk id="7" creationId="{ABFDCCB6-DE4F-452D-88F2-6FBFE411E6C8}"/>
          </ac:spMkLst>
        </pc:spChg>
        <pc:spChg chg="add del mod">
          <ac:chgData name="B A, Srinidhi" userId="fa3f4cb9-8302-4d19-a7f9-7a176968b043" providerId="ADAL" clId="{612D2261-8629-4E1D-B31E-65D55FEC258F}" dt="2022-01-28T07:53:05.634" v="1033" actId="478"/>
          <ac:spMkLst>
            <pc:docMk/>
            <pc:sldMk cId="1686208752" sldId="375"/>
            <ac:spMk id="11" creationId="{C454DBCC-3F23-4E58-BAD0-9FBE1B56B205}"/>
          </ac:spMkLst>
        </pc:spChg>
        <pc:spChg chg="add mod">
          <ac:chgData name="B A, Srinidhi" userId="fa3f4cb9-8302-4d19-a7f9-7a176968b043" providerId="ADAL" clId="{612D2261-8629-4E1D-B31E-65D55FEC258F}" dt="2022-01-28T07:54:39.850" v="1090" actId="20577"/>
          <ac:spMkLst>
            <pc:docMk/>
            <pc:sldMk cId="1686208752" sldId="375"/>
            <ac:spMk id="12" creationId="{61F3CD3F-F232-4C05-99BD-D82BF888E893}"/>
          </ac:spMkLst>
        </pc:spChg>
        <pc:spChg chg="add del mod">
          <ac:chgData name="B A, Srinidhi" userId="fa3f4cb9-8302-4d19-a7f9-7a176968b043" providerId="ADAL" clId="{612D2261-8629-4E1D-B31E-65D55FEC258F}" dt="2022-01-28T08:15:30.848" v="1499"/>
          <ac:spMkLst>
            <pc:docMk/>
            <pc:sldMk cId="1686208752" sldId="375"/>
            <ac:spMk id="13" creationId="{536584F0-8B09-4BD7-B92C-262FCD49EA0C}"/>
          </ac:spMkLst>
        </pc:spChg>
        <pc:spChg chg="add mod">
          <ac:chgData name="B A, Srinidhi" userId="fa3f4cb9-8302-4d19-a7f9-7a176968b043" providerId="ADAL" clId="{612D2261-8629-4E1D-B31E-65D55FEC258F}" dt="2022-01-28T08:16:01.075" v="1514" actId="20577"/>
          <ac:spMkLst>
            <pc:docMk/>
            <pc:sldMk cId="1686208752" sldId="375"/>
            <ac:spMk id="14" creationId="{70A960B0-1377-422E-835D-2921189B5A90}"/>
          </ac:spMkLst>
        </pc:spChg>
        <pc:spChg chg="add mod">
          <ac:chgData name="B A, Srinidhi" userId="fa3f4cb9-8302-4d19-a7f9-7a176968b043" providerId="ADAL" clId="{612D2261-8629-4E1D-B31E-65D55FEC258F}" dt="2022-01-28T08:16:23.771" v="1567" actId="20577"/>
          <ac:spMkLst>
            <pc:docMk/>
            <pc:sldMk cId="1686208752" sldId="375"/>
            <ac:spMk id="15" creationId="{08DD5579-B91E-4FC1-9A21-0CA53E3B78FC}"/>
          </ac:spMkLst>
        </pc:spChg>
        <pc:picChg chg="mod">
          <ac:chgData name="B A, Srinidhi" userId="fa3f4cb9-8302-4d19-a7f9-7a176968b043" providerId="ADAL" clId="{612D2261-8629-4E1D-B31E-65D55FEC258F}" dt="2022-01-28T08:15:20.768" v="1497" actId="1036"/>
          <ac:picMkLst>
            <pc:docMk/>
            <pc:sldMk cId="1686208752" sldId="375"/>
            <ac:picMk id="8" creationId="{C0330645-5466-4DBC-BD81-4AD95C093F1C}"/>
          </ac:picMkLst>
        </pc:picChg>
        <pc:picChg chg="mod">
          <ac:chgData name="B A, Srinidhi" userId="fa3f4cb9-8302-4d19-a7f9-7a176968b043" providerId="ADAL" clId="{612D2261-8629-4E1D-B31E-65D55FEC258F}" dt="2022-01-28T08:15:20.768" v="1497" actId="1036"/>
          <ac:picMkLst>
            <pc:docMk/>
            <pc:sldMk cId="1686208752" sldId="375"/>
            <ac:picMk id="10" creationId="{8217F07E-0A46-4370-AF21-EB4A11EB014D}"/>
          </ac:picMkLst>
        </pc:picChg>
      </pc:sldChg>
      <pc:sldChg chg="addSp delSp modSp add mod modClrScheme chgLayout">
        <pc:chgData name="B A, Srinidhi" userId="fa3f4cb9-8302-4d19-a7f9-7a176968b043" providerId="ADAL" clId="{612D2261-8629-4E1D-B31E-65D55FEC258F}" dt="2022-01-28T08:21:31.063" v="1745" actId="947"/>
        <pc:sldMkLst>
          <pc:docMk/>
          <pc:sldMk cId="3487667596" sldId="376"/>
        </pc:sldMkLst>
        <pc:spChg chg="del mod ord">
          <ac:chgData name="B A, Srinidhi" userId="fa3f4cb9-8302-4d19-a7f9-7a176968b043" providerId="ADAL" clId="{612D2261-8629-4E1D-B31E-65D55FEC258F}" dt="2022-01-28T08:21:02.363" v="1735" actId="478"/>
          <ac:spMkLst>
            <pc:docMk/>
            <pc:sldMk cId="3487667596" sldId="376"/>
            <ac:spMk id="2" creationId="{3729475E-5342-4F14-86B6-B051CA586F3F}"/>
          </ac:spMkLst>
        </pc:spChg>
        <pc:spChg chg="mod">
          <ac:chgData name="B A, Srinidhi" userId="fa3f4cb9-8302-4d19-a7f9-7a176968b043" providerId="ADAL" clId="{612D2261-8629-4E1D-B31E-65D55FEC258F}" dt="2022-01-28T08:12:34.729" v="1203" actId="26606"/>
          <ac:spMkLst>
            <pc:docMk/>
            <pc:sldMk cId="3487667596" sldId="376"/>
            <ac:spMk id="3" creationId="{29F384B6-4E30-43F2-856C-4931E95D1C09}"/>
          </ac:spMkLst>
        </pc:spChg>
        <pc:spChg chg="mod">
          <ac:chgData name="B A, Srinidhi" userId="fa3f4cb9-8302-4d19-a7f9-7a176968b043" providerId="ADAL" clId="{612D2261-8629-4E1D-B31E-65D55FEC258F}" dt="2022-01-28T08:12:34.729" v="1203" actId="26606"/>
          <ac:spMkLst>
            <pc:docMk/>
            <pc:sldMk cId="3487667596" sldId="376"/>
            <ac:spMk id="4" creationId="{5F02E374-7038-4DE3-AA02-A2C34A7E519F}"/>
          </ac:spMkLst>
        </pc:spChg>
        <pc:spChg chg="mod ord">
          <ac:chgData name="B A, Srinidhi" userId="fa3f4cb9-8302-4d19-a7f9-7a176968b043" providerId="ADAL" clId="{612D2261-8629-4E1D-B31E-65D55FEC258F}" dt="2022-01-28T08:21:31.063" v="1745" actId="947"/>
          <ac:spMkLst>
            <pc:docMk/>
            <pc:sldMk cId="3487667596" sldId="376"/>
            <ac:spMk id="12" creationId="{61F3CD3F-F232-4C05-99BD-D82BF888E893}"/>
          </ac:spMkLst>
        </pc:spChg>
        <pc:spChg chg="add del mod">
          <ac:chgData name="B A, Srinidhi" userId="fa3f4cb9-8302-4d19-a7f9-7a176968b043" providerId="ADAL" clId="{612D2261-8629-4E1D-B31E-65D55FEC258F}" dt="2022-01-28T07:57:57.173" v="1132" actId="26606"/>
          <ac:spMkLst>
            <pc:docMk/>
            <pc:sldMk cId="3487667596" sldId="376"/>
            <ac:spMk id="14" creationId="{6D78634B-F1CA-4265-A960-81875D9D99EA}"/>
          </ac:spMkLst>
        </pc:spChg>
        <pc:spChg chg="add del mod">
          <ac:chgData name="B A, Srinidhi" userId="fa3f4cb9-8302-4d19-a7f9-7a176968b043" providerId="ADAL" clId="{612D2261-8629-4E1D-B31E-65D55FEC258F}" dt="2022-01-28T07:57:57.173" v="1132" actId="26606"/>
          <ac:spMkLst>
            <pc:docMk/>
            <pc:sldMk cId="3487667596" sldId="376"/>
            <ac:spMk id="15" creationId="{996C04BD-E346-4443-95F5-C72843F0E3CA}"/>
          </ac:spMkLst>
        </pc:spChg>
        <pc:spChg chg="add del mod">
          <ac:chgData name="B A, Srinidhi" userId="fa3f4cb9-8302-4d19-a7f9-7a176968b043" providerId="ADAL" clId="{612D2261-8629-4E1D-B31E-65D55FEC258F}" dt="2022-01-28T07:58:09.300" v="1136" actId="26606"/>
          <ac:spMkLst>
            <pc:docMk/>
            <pc:sldMk cId="3487667596" sldId="376"/>
            <ac:spMk id="16" creationId="{00C83587-567F-4BAB-8BEA-C27D07B7591D}"/>
          </ac:spMkLst>
        </pc:spChg>
        <pc:spChg chg="add del mod">
          <ac:chgData name="B A, Srinidhi" userId="fa3f4cb9-8302-4d19-a7f9-7a176968b043" providerId="ADAL" clId="{612D2261-8629-4E1D-B31E-65D55FEC258F}" dt="2022-01-28T07:56:25.192" v="1127" actId="26606"/>
          <ac:spMkLst>
            <pc:docMk/>
            <pc:sldMk cId="3487667596" sldId="376"/>
            <ac:spMk id="17" creationId="{220360A0-63F0-4F37-B14B-7CA90BDF3A0A}"/>
          </ac:spMkLst>
        </pc:spChg>
        <pc:spChg chg="add del mod">
          <ac:chgData name="B A, Srinidhi" userId="fa3f4cb9-8302-4d19-a7f9-7a176968b043" providerId="ADAL" clId="{612D2261-8629-4E1D-B31E-65D55FEC258F}" dt="2022-01-28T07:58:09.300" v="1136" actId="26606"/>
          <ac:spMkLst>
            <pc:docMk/>
            <pc:sldMk cId="3487667596" sldId="376"/>
            <ac:spMk id="18" creationId="{6BD41247-619C-4AED-87DE-078D986C934B}"/>
          </ac:spMkLst>
        </pc:spChg>
        <pc:spChg chg="add del mod">
          <ac:chgData name="B A, Srinidhi" userId="fa3f4cb9-8302-4d19-a7f9-7a176968b043" providerId="ADAL" clId="{612D2261-8629-4E1D-B31E-65D55FEC258F}" dt="2022-01-28T07:56:25.192" v="1127" actId="26606"/>
          <ac:spMkLst>
            <pc:docMk/>
            <pc:sldMk cId="3487667596" sldId="376"/>
            <ac:spMk id="19" creationId="{06805D12-73D5-4AB7-869A-B6E5FD9F50AD}"/>
          </ac:spMkLst>
        </pc:spChg>
        <pc:spChg chg="add mod">
          <ac:chgData name="B A, Srinidhi" userId="fa3f4cb9-8302-4d19-a7f9-7a176968b043" providerId="ADAL" clId="{612D2261-8629-4E1D-B31E-65D55FEC258F}" dt="2022-01-28T08:14:35.582" v="1471" actId="20577"/>
          <ac:spMkLst>
            <pc:docMk/>
            <pc:sldMk cId="3487667596" sldId="376"/>
            <ac:spMk id="20" creationId="{F1CCB645-15F1-4E2A-B762-7362B6766348}"/>
          </ac:spMkLst>
        </pc:spChg>
        <pc:spChg chg="add mod">
          <ac:chgData name="B A, Srinidhi" userId="fa3f4cb9-8302-4d19-a7f9-7a176968b043" providerId="ADAL" clId="{612D2261-8629-4E1D-B31E-65D55FEC258F}" dt="2022-01-28T08:14:05.964" v="1405" actId="20577"/>
          <ac:spMkLst>
            <pc:docMk/>
            <pc:sldMk cId="3487667596" sldId="376"/>
            <ac:spMk id="21" creationId="{5010D068-5FD0-4546-B3F5-04E5774B9166}"/>
          </ac:spMkLst>
        </pc:spChg>
        <pc:spChg chg="add del mod">
          <ac:chgData name="B A, Srinidhi" userId="fa3f4cb9-8302-4d19-a7f9-7a176968b043" providerId="ADAL" clId="{612D2261-8629-4E1D-B31E-65D55FEC258F}" dt="2022-01-28T08:21:04.845" v="1736" actId="478"/>
          <ac:spMkLst>
            <pc:docMk/>
            <pc:sldMk cId="3487667596" sldId="376"/>
            <ac:spMk id="25" creationId="{8D51AB18-EDDF-4617-B86A-54900BB85846}"/>
          </ac:spMkLst>
        </pc:spChg>
        <pc:picChg chg="add del mod ord">
          <ac:chgData name="B A, Srinidhi" userId="fa3f4cb9-8302-4d19-a7f9-7a176968b043" providerId="ADAL" clId="{612D2261-8629-4E1D-B31E-65D55FEC258F}" dt="2022-01-28T08:12:17.245" v="1197" actId="478"/>
          <ac:picMkLst>
            <pc:docMk/>
            <pc:sldMk cId="3487667596" sldId="376"/>
            <ac:picMk id="6" creationId="{7B5E4D00-76CA-4FD3-963D-E209E49FFCC3}"/>
          </ac:picMkLst>
        </pc:picChg>
        <pc:picChg chg="del">
          <ac:chgData name="B A, Srinidhi" userId="fa3f4cb9-8302-4d19-a7f9-7a176968b043" providerId="ADAL" clId="{612D2261-8629-4E1D-B31E-65D55FEC258F}" dt="2022-01-28T07:56:06.823" v="1124" actId="478"/>
          <ac:picMkLst>
            <pc:docMk/>
            <pc:sldMk cId="3487667596" sldId="376"/>
            <ac:picMk id="8" creationId="{C0330645-5466-4DBC-BD81-4AD95C093F1C}"/>
          </ac:picMkLst>
        </pc:picChg>
        <pc:picChg chg="add mod ord">
          <ac:chgData name="B A, Srinidhi" userId="fa3f4cb9-8302-4d19-a7f9-7a176968b043" providerId="ADAL" clId="{612D2261-8629-4E1D-B31E-65D55FEC258F}" dt="2022-01-28T08:13:38.592" v="1378" actId="1038"/>
          <ac:picMkLst>
            <pc:docMk/>
            <pc:sldMk cId="3487667596" sldId="376"/>
            <ac:picMk id="9" creationId="{989A0688-D2D6-4F75-A391-A9D122CDB393}"/>
          </ac:picMkLst>
        </pc:picChg>
        <pc:picChg chg="del mod ord">
          <ac:chgData name="B A, Srinidhi" userId="fa3f4cb9-8302-4d19-a7f9-7a176968b043" providerId="ADAL" clId="{612D2261-8629-4E1D-B31E-65D55FEC258F}" dt="2022-01-28T07:56:35.715" v="1129" actId="478"/>
          <ac:picMkLst>
            <pc:docMk/>
            <pc:sldMk cId="3487667596" sldId="376"/>
            <ac:picMk id="10" creationId="{8217F07E-0A46-4370-AF21-EB4A11EB014D}"/>
          </ac:picMkLst>
        </pc:picChg>
        <pc:picChg chg="add del mod">
          <ac:chgData name="B A, Srinidhi" userId="fa3f4cb9-8302-4d19-a7f9-7a176968b043" providerId="ADAL" clId="{612D2261-8629-4E1D-B31E-65D55FEC258F}" dt="2022-01-28T08:13:40.836" v="1379" actId="478"/>
          <ac:picMkLst>
            <pc:docMk/>
            <pc:sldMk cId="3487667596" sldId="376"/>
            <ac:picMk id="13" creationId="{7F703FB8-5B80-40CF-B06B-6615A4255BBB}"/>
          </ac:picMkLst>
        </pc:picChg>
        <pc:picChg chg="add mod">
          <ac:chgData name="B A, Srinidhi" userId="fa3f4cb9-8302-4d19-a7f9-7a176968b043" providerId="ADAL" clId="{612D2261-8629-4E1D-B31E-65D55FEC258F}" dt="2022-01-28T08:16:36.907" v="1569" actId="1076"/>
          <ac:picMkLst>
            <pc:docMk/>
            <pc:sldMk cId="3487667596" sldId="376"/>
            <ac:picMk id="23" creationId="{8A157FFF-24A6-497E-B8EA-0F9DDC49C14C}"/>
          </ac:picMkLst>
        </pc:picChg>
      </pc:sldChg>
      <pc:sldChg chg="addSp delSp modSp add mod modClrScheme chgLayout">
        <pc:chgData name="B A, Srinidhi" userId="fa3f4cb9-8302-4d19-a7f9-7a176968b043" providerId="ADAL" clId="{612D2261-8629-4E1D-B31E-65D55FEC258F}" dt="2022-01-28T08:21:39.958" v="1751" actId="947"/>
        <pc:sldMkLst>
          <pc:docMk/>
          <pc:sldMk cId="673215100" sldId="377"/>
        </pc:sldMkLst>
        <pc:spChg chg="del mod">
          <ac:chgData name="B A, Srinidhi" userId="fa3f4cb9-8302-4d19-a7f9-7a176968b043" providerId="ADAL" clId="{612D2261-8629-4E1D-B31E-65D55FEC258F}" dt="2022-01-28T08:21:09.538" v="1737" actId="478"/>
          <ac:spMkLst>
            <pc:docMk/>
            <pc:sldMk cId="673215100" sldId="377"/>
            <ac:spMk id="2" creationId="{3729475E-5342-4F14-86B6-B051CA586F3F}"/>
          </ac:spMkLst>
        </pc:spChg>
        <pc:spChg chg="mod">
          <ac:chgData name="B A, Srinidhi" userId="fa3f4cb9-8302-4d19-a7f9-7a176968b043" providerId="ADAL" clId="{612D2261-8629-4E1D-B31E-65D55FEC258F}" dt="2022-01-28T08:05:05.761" v="1151" actId="26606"/>
          <ac:spMkLst>
            <pc:docMk/>
            <pc:sldMk cId="673215100" sldId="377"/>
            <ac:spMk id="3" creationId="{29F384B6-4E30-43F2-856C-4931E95D1C09}"/>
          </ac:spMkLst>
        </pc:spChg>
        <pc:spChg chg="mod">
          <ac:chgData name="B A, Srinidhi" userId="fa3f4cb9-8302-4d19-a7f9-7a176968b043" providerId="ADAL" clId="{612D2261-8629-4E1D-B31E-65D55FEC258F}" dt="2022-01-28T08:05:05.761" v="1151" actId="26606"/>
          <ac:spMkLst>
            <pc:docMk/>
            <pc:sldMk cId="673215100" sldId="377"/>
            <ac:spMk id="4" creationId="{5F02E374-7038-4DE3-AA02-A2C34A7E519F}"/>
          </ac:spMkLst>
        </pc:spChg>
        <pc:spChg chg="mod">
          <ac:chgData name="B A, Srinidhi" userId="fa3f4cb9-8302-4d19-a7f9-7a176968b043" providerId="ADAL" clId="{612D2261-8629-4E1D-B31E-65D55FEC258F}" dt="2022-01-28T08:21:39.958" v="1751" actId="947"/>
          <ac:spMkLst>
            <pc:docMk/>
            <pc:sldMk cId="673215100" sldId="377"/>
            <ac:spMk id="12" creationId="{61F3CD3F-F232-4C05-99BD-D82BF888E893}"/>
          </ac:spMkLst>
        </pc:spChg>
        <pc:spChg chg="add mod">
          <ac:chgData name="B A, Srinidhi" userId="fa3f4cb9-8302-4d19-a7f9-7a176968b043" providerId="ADAL" clId="{612D2261-8629-4E1D-B31E-65D55FEC258F}" dt="2022-01-28T08:17:37.819" v="1707" actId="1036"/>
          <ac:spMkLst>
            <pc:docMk/>
            <pc:sldMk cId="673215100" sldId="377"/>
            <ac:spMk id="14" creationId="{7B2C6E09-272C-4B47-AEF9-7AE8B9381704}"/>
          </ac:spMkLst>
        </pc:spChg>
        <pc:picChg chg="add mod ord">
          <ac:chgData name="B A, Srinidhi" userId="fa3f4cb9-8302-4d19-a7f9-7a176968b043" providerId="ADAL" clId="{612D2261-8629-4E1D-B31E-65D55FEC258F}" dt="2022-01-28T08:16:56.485" v="1573" actId="1076"/>
          <ac:picMkLst>
            <pc:docMk/>
            <pc:sldMk cId="673215100" sldId="377"/>
            <ac:picMk id="6" creationId="{F01F4ACC-B466-48EF-9724-14E673B7346F}"/>
          </ac:picMkLst>
        </pc:picChg>
        <pc:picChg chg="del">
          <ac:chgData name="B A, Srinidhi" userId="fa3f4cb9-8302-4d19-a7f9-7a176968b043" providerId="ADAL" clId="{612D2261-8629-4E1D-B31E-65D55FEC258F}" dt="2022-01-28T08:00:04.458" v="1142" actId="478"/>
          <ac:picMkLst>
            <pc:docMk/>
            <pc:sldMk cId="673215100" sldId="377"/>
            <ac:picMk id="8" creationId="{C0330645-5466-4DBC-BD81-4AD95C093F1C}"/>
          </ac:picMkLst>
        </pc:picChg>
        <pc:picChg chg="add mod ord">
          <ac:chgData name="B A, Srinidhi" userId="fa3f4cb9-8302-4d19-a7f9-7a176968b043" providerId="ADAL" clId="{612D2261-8629-4E1D-B31E-65D55FEC258F}" dt="2022-01-28T08:05:05.761" v="1151" actId="26606"/>
          <ac:picMkLst>
            <pc:docMk/>
            <pc:sldMk cId="673215100" sldId="377"/>
            <ac:picMk id="9" creationId="{BC2886A9-BE4F-46B3-A478-613067D7462C}"/>
          </ac:picMkLst>
        </pc:picChg>
        <pc:picChg chg="del">
          <ac:chgData name="B A, Srinidhi" userId="fa3f4cb9-8302-4d19-a7f9-7a176968b043" providerId="ADAL" clId="{612D2261-8629-4E1D-B31E-65D55FEC258F}" dt="2022-01-28T08:00:07.703" v="1144" actId="478"/>
          <ac:picMkLst>
            <pc:docMk/>
            <pc:sldMk cId="673215100" sldId="377"/>
            <ac:picMk id="10" creationId="{8217F07E-0A46-4370-AF21-EB4A11EB014D}"/>
          </ac:picMkLst>
        </pc:picChg>
        <pc:picChg chg="add mod ord">
          <ac:chgData name="B A, Srinidhi" userId="fa3f4cb9-8302-4d19-a7f9-7a176968b043" providerId="ADAL" clId="{612D2261-8629-4E1D-B31E-65D55FEC258F}" dt="2022-01-28T08:05:05.761" v="1151" actId="26606"/>
          <ac:picMkLst>
            <pc:docMk/>
            <pc:sldMk cId="673215100" sldId="377"/>
            <ac:picMk id="13" creationId="{2C483DCD-2A68-42ED-BF0F-DFC2B42C9A9D}"/>
          </ac:picMkLst>
        </pc:picChg>
      </pc:sldChg>
      <pc:sldChg chg="addSp delSp modSp add mod">
        <pc:chgData name="B A, Srinidhi" userId="fa3f4cb9-8302-4d19-a7f9-7a176968b043" providerId="ADAL" clId="{612D2261-8629-4E1D-B31E-65D55FEC258F}" dt="2022-01-28T08:22:06.380" v="1774" actId="20577"/>
        <pc:sldMkLst>
          <pc:docMk/>
          <pc:sldMk cId="2330502431" sldId="378"/>
        </pc:sldMkLst>
        <pc:spChg chg="del">
          <ac:chgData name="B A, Srinidhi" userId="fa3f4cb9-8302-4d19-a7f9-7a176968b043" providerId="ADAL" clId="{612D2261-8629-4E1D-B31E-65D55FEC258F}" dt="2022-01-28T08:21:15.413" v="1738" actId="478"/>
          <ac:spMkLst>
            <pc:docMk/>
            <pc:sldMk cId="2330502431" sldId="378"/>
            <ac:spMk id="2" creationId="{3729475E-5342-4F14-86B6-B051CA586F3F}"/>
          </ac:spMkLst>
        </pc:spChg>
        <pc:spChg chg="mod">
          <ac:chgData name="B A, Srinidhi" userId="fa3f4cb9-8302-4d19-a7f9-7a176968b043" providerId="ADAL" clId="{612D2261-8629-4E1D-B31E-65D55FEC258F}" dt="2022-01-28T08:22:06.380" v="1774" actId="20577"/>
          <ac:spMkLst>
            <pc:docMk/>
            <pc:sldMk cId="2330502431" sldId="378"/>
            <ac:spMk id="12" creationId="{61F3CD3F-F232-4C05-99BD-D82BF888E893}"/>
          </ac:spMkLst>
        </pc:spChg>
        <pc:picChg chg="del">
          <ac:chgData name="B A, Srinidhi" userId="fa3f4cb9-8302-4d19-a7f9-7a176968b043" providerId="ADAL" clId="{612D2261-8629-4E1D-B31E-65D55FEC258F}" dt="2022-01-28T08:19:11.662" v="1726" actId="478"/>
          <ac:picMkLst>
            <pc:docMk/>
            <pc:sldMk cId="2330502431" sldId="378"/>
            <ac:picMk id="6" creationId="{F01F4ACC-B466-48EF-9724-14E673B7346F}"/>
          </ac:picMkLst>
        </pc:picChg>
        <pc:picChg chg="add mod">
          <ac:chgData name="B A, Srinidhi" userId="fa3f4cb9-8302-4d19-a7f9-7a176968b043" providerId="ADAL" clId="{612D2261-8629-4E1D-B31E-65D55FEC258F}" dt="2022-01-28T08:19:21.233" v="1730" actId="1076"/>
          <ac:picMkLst>
            <pc:docMk/>
            <pc:sldMk cId="2330502431" sldId="378"/>
            <ac:picMk id="7" creationId="{BEAD7F00-A6E0-469D-B025-72B315927B56}"/>
          </ac:picMkLst>
        </pc:picChg>
        <pc:picChg chg="del">
          <ac:chgData name="B A, Srinidhi" userId="fa3f4cb9-8302-4d19-a7f9-7a176968b043" providerId="ADAL" clId="{612D2261-8629-4E1D-B31E-65D55FEC258F}" dt="2022-01-28T08:20:02.989" v="1731" actId="478"/>
          <ac:picMkLst>
            <pc:docMk/>
            <pc:sldMk cId="2330502431" sldId="378"/>
            <ac:picMk id="9" creationId="{BC2886A9-BE4F-46B3-A478-613067D7462C}"/>
          </ac:picMkLst>
        </pc:picChg>
        <pc:picChg chg="add mod">
          <ac:chgData name="B A, Srinidhi" userId="fa3f4cb9-8302-4d19-a7f9-7a176968b043" providerId="ADAL" clId="{612D2261-8629-4E1D-B31E-65D55FEC258F}" dt="2022-01-28T08:20:08.120" v="1733" actId="1076"/>
          <ac:picMkLst>
            <pc:docMk/>
            <pc:sldMk cId="2330502431" sldId="378"/>
            <ac:picMk id="10" creationId="{4E51770D-E07D-4DC9-B37F-7AEB0F9753E8}"/>
          </ac:picMkLst>
        </pc:picChg>
        <pc:picChg chg="del">
          <ac:chgData name="B A, Srinidhi" userId="fa3f4cb9-8302-4d19-a7f9-7a176968b043" providerId="ADAL" clId="{612D2261-8629-4E1D-B31E-65D55FEC258F}" dt="2022-01-28T08:20:02.989" v="1731" actId="478"/>
          <ac:picMkLst>
            <pc:docMk/>
            <pc:sldMk cId="2330502431" sldId="378"/>
            <ac:picMk id="13" creationId="{2C483DCD-2A68-42ED-BF0F-DFC2B42C9A9D}"/>
          </ac:picMkLst>
        </pc:picChg>
        <pc:picChg chg="add mod">
          <ac:chgData name="B A, Srinidhi" userId="fa3f4cb9-8302-4d19-a7f9-7a176968b043" providerId="ADAL" clId="{612D2261-8629-4E1D-B31E-65D55FEC258F}" dt="2022-01-28T08:20:33.505" v="1734"/>
          <ac:picMkLst>
            <pc:docMk/>
            <pc:sldMk cId="2330502431" sldId="378"/>
            <ac:picMk id="15" creationId="{571B5070-436D-49C9-A985-BD834C46FE89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144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27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27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27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6C5CBA5-EEC0-4D4B-BF3A-396F272739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822175" cy="4439270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871" y="4439270"/>
            <a:ext cx="12157149" cy="2418730"/>
          </a:xfrm>
        </p:spPr>
        <p:txBody>
          <a:bodyPr/>
          <a:lstStyle/>
          <a:p>
            <a:r>
              <a:rPr lang="en-US" dirty="0"/>
              <a:t>Wm.io Splitwise Provide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47BD69-7527-43FB-8AC4-81BAC50BE6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IN" sz="1800" dirty="0"/>
              <a:t>Srinidhi B 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76C6086-A47A-472A-A7EE-EAAD5EE3EC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28691" y="6069795"/>
            <a:ext cx="2421930" cy="691980"/>
          </a:xfrm>
          <a:prstGeom prst="rect">
            <a:avLst/>
          </a:prstGeom>
        </p:spPr>
      </p:pic>
      <p:pic>
        <p:nvPicPr>
          <p:cNvPr id="11" name="Picture 10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7922711B-B0FF-4E94-8B6D-1CC3F2375E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177" y="1014821"/>
            <a:ext cx="975445" cy="97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litwi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webMethods.io Connector for SAAS Splitwi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litwise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None/>
            </a:pPr>
            <a:r>
              <a:rPr lang="en-US" dirty="0"/>
              <a:t>It enables, webMethods.io connectivity with SAAS Splitwise. </a:t>
            </a:r>
            <a:r>
              <a:rPr lang="en-US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Splitwise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is a free tool for friends / roommates to track bills and other shared expenses, so that everyone gets paid back.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cs typeface="Times New Roman" panose="02020603050405020304" pitchFamily="18" charset="0"/>
              </a:rPr>
              <a:t>Capabilities of wm.io splitwise Connector</a:t>
            </a:r>
          </a:p>
          <a:p>
            <a:pPr marL="285750" indent="-285750"/>
            <a:r>
              <a:rPr lang="en-US" sz="1800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o establish OAUTH 2 Connectivity with Splitwise API SAAS Provider. 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Make requests to </a:t>
            </a:r>
            <a:r>
              <a:rPr lang="en-US" sz="1800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Get user or expense Information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Create new expenses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Update expenses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Delete / Undelete expenses</a:t>
            </a:r>
          </a:p>
        </p:txBody>
      </p:sp>
    </p:spTree>
    <p:extLst>
      <p:ext uri="{BB962C8B-B14F-4D97-AF65-F5344CB8AC3E}">
        <p14:creationId xmlns:p14="http://schemas.microsoft.com/office/powerpoint/2010/main" val="491513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litwi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9854" y="1700808"/>
            <a:ext cx="11468100" cy="3145069"/>
          </a:xfrm>
        </p:spPr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cs typeface="Times New Roman" panose="02020603050405020304" pitchFamily="18" charset="0"/>
              </a:rPr>
              <a:t>Benefits :</a:t>
            </a:r>
          </a:p>
          <a:p>
            <a:pPr marL="285750" indent="-285750"/>
            <a:r>
              <a:rPr lang="en-US" sz="1800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uthorize webMethods.io to manage expenses without sharing your API Key / Credentials using OAuth 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Retrieve, Create, Manage, Delete expenses and share them with your Friends / Stakeholders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Schedule expenses or set criteria to create / modify expenses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Integrate with hundreds of other SAAS application Providers</a:t>
            </a:r>
          </a:p>
          <a:p>
            <a:pPr marL="285750" indent="-285750"/>
            <a:r>
              <a:rPr lang="en-US" sz="1800" dirty="0">
                <a:solidFill>
                  <a:srgbClr val="4D5156"/>
                </a:solidFill>
                <a:latin typeface="arial" panose="020B0604020202020204" pitchFamily="34" charset="0"/>
              </a:rPr>
              <a:t>Take advantage of webMethods workflows / flow services and available resources / frameworks</a:t>
            </a:r>
          </a:p>
          <a:p>
            <a:pPr>
              <a:buNone/>
            </a:pPr>
            <a:endParaRPr lang="en-US" sz="1800" b="1" kern="0" dirty="0"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cs typeface="Times New Roman" panose="02020603050405020304" pitchFamily="18" charset="0"/>
            </a:endParaRPr>
          </a:p>
          <a:p>
            <a:pPr marL="285750" indent="-285750"/>
            <a:endParaRPr lang="en-US" sz="1800" b="1" kern="0" dirty="0"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cs typeface="Times New Roman" panose="02020603050405020304" pitchFamily="18" charset="0"/>
            </a:endParaRPr>
          </a:p>
          <a:p>
            <a:pPr marL="285750" indent="-285750"/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/>
            <a:endParaRPr lang="en-US" sz="1800" dirty="0">
              <a:solidFill>
                <a:srgbClr val="4D5156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5620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330645-5466-4DBC-BD81-4AD95C093F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2568" y="1144922"/>
            <a:ext cx="7352024" cy="24741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17F07E-0A46-4370-AF21-EB4A11EB01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2567" y="3547101"/>
            <a:ext cx="7272808" cy="2474187"/>
          </a:xfrm>
          <a:prstGeom prst="rect">
            <a:avLst/>
          </a:prstGeom>
        </p:spPr>
      </p:pic>
      <p:sp>
        <p:nvSpPr>
          <p:cNvPr id="12" name="Subtitle 4">
            <a:extLst>
              <a:ext uri="{FF2B5EF4-FFF2-40B4-BE49-F238E27FC236}">
                <a16:creationId xmlns:a16="http://schemas.microsoft.com/office/drawing/2014/main" id="{61F3CD3F-F232-4C05-99BD-D82BF888E89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/>
          <a:lstStyle/>
          <a:p>
            <a:r>
              <a:rPr lang="en-IN" dirty="0"/>
              <a:t>Workflow to Read Expenses and send a weekly Repor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0A960B0-1377-422E-835D-2921189B5A90}"/>
              </a:ext>
            </a:extLst>
          </p:cNvPr>
          <p:cNvSpPr txBox="1">
            <a:spLocks/>
          </p:cNvSpPr>
          <p:nvPr/>
        </p:nvSpPr>
        <p:spPr>
          <a:xfrm>
            <a:off x="736196" y="2348880"/>
            <a:ext cx="3069754" cy="503427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25000"/>
              <a:buFont typeface="Rubik" panose="00000500000000000000" pitchFamily="50" charset="-79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et Expenses Resourc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8DD5579-B91E-4FC1-9A21-0CA53E3B78FC}"/>
              </a:ext>
            </a:extLst>
          </p:cNvPr>
          <p:cNvSpPr txBox="1">
            <a:spLocks/>
          </p:cNvSpPr>
          <p:nvPr/>
        </p:nvSpPr>
        <p:spPr>
          <a:xfrm>
            <a:off x="721990" y="4509749"/>
            <a:ext cx="3069754" cy="503427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25000"/>
              <a:buFont typeface="Rubik" panose="00000500000000000000" pitchFamily="50" charset="-79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xpense Report Email</a:t>
            </a:r>
          </a:p>
        </p:txBody>
      </p:sp>
    </p:spTree>
    <p:extLst>
      <p:ext uri="{BB962C8B-B14F-4D97-AF65-F5344CB8AC3E}">
        <p14:creationId xmlns:p14="http://schemas.microsoft.com/office/powerpoint/2010/main" val="1686208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4">
            <a:extLst>
              <a:ext uri="{FF2B5EF4-FFF2-40B4-BE49-F238E27FC236}">
                <a16:creationId xmlns:a16="http://schemas.microsoft.com/office/drawing/2014/main" id="{61F3CD3F-F232-4C05-99BD-D82BF888E89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546199"/>
            <a:ext cx="11468100" cy="290513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en-IN" sz="2000" dirty="0"/>
              <a:t>Workflow to Create Expense for Monthly Re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010D068-5FD0-4546-B3F5-04E5774B91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</p:spPr>
        <p:txBody>
          <a:bodyPr/>
          <a:lstStyle/>
          <a:p>
            <a:r>
              <a:rPr lang="en-US" dirty="0"/>
              <a:t>Create Expense Workflow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F1CCB645-15F1-4E2A-B762-7362B67663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</p:spPr>
        <p:txBody>
          <a:bodyPr/>
          <a:lstStyle/>
          <a:p>
            <a:r>
              <a:rPr lang="en-US" dirty="0"/>
              <a:t>Expense is reflected in Splitwise UI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89A0688-D2D6-4F75-A391-A9D122CDB39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02" b="-1"/>
          <a:stretch/>
        </p:blipFill>
        <p:spPr>
          <a:xfrm>
            <a:off x="6168008" y="2359800"/>
            <a:ext cx="5637963" cy="3693338"/>
          </a:xfrm>
          <a:prstGeom prst="rect">
            <a:avLst/>
          </a:prstGeom>
          <a:noFill/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A157FFF-24A6-497E-B8EA-0F9DDC49C1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98" y="3180342"/>
            <a:ext cx="5523238" cy="147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6675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01F4ACC-B466-48EF-9724-14E673B734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1052345"/>
            <a:ext cx="6629401" cy="22077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C2886A9-BE4F-46B3-A478-613067D74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38" y="4151313"/>
            <a:ext cx="6629400" cy="2667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483DCD-2A68-42ED-BF0F-DFC2B42C9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7988" y="4151313"/>
            <a:ext cx="5386388" cy="2667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12" name="Subtitle 4">
            <a:extLst>
              <a:ext uri="{FF2B5EF4-FFF2-40B4-BE49-F238E27FC236}">
                <a16:creationId xmlns:a16="http://schemas.microsoft.com/office/drawing/2014/main" id="{61F3CD3F-F232-4C05-99BD-D82BF888E893}"/>
              </a:ext>
            </a:extLst>
          </p:cNvPr>
          <p:cNvSpPr>
            <a:spLocks noGrp="1"/>
          </p:cNvSpPr>
          <p:nvPr>
            <p:ph type="subTitle" sz="quarter" idx="4294967295"/>
          </p:nvPr>
        </p:nvSpPr>
        <p:spPr>
          <a:xfrm>
            <a:off x="361200" y="476672"/>
            <a:ext cx="11468100" cy="290513"/>
          </a:xfrm>
        </p:spPr>
        <p:txBody>
          <a:bodyPr/>
          <a:lstStyle/>
          <a:p>
            <a:r>
              <a:rPr lang="en-IN" sz="2000" dirty="0"/>
              <a:t>Workflow to update existing Expens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B2C6E09-272C-4B47-AEF9-7AE8B9381704}"/>
              </a:ext>
            </a:extLst>
          </p:cNvPr>
          <p:cNvSpPr txBox="1">
            <a:spLocks/>
          </p:cNvSpPr>
          <p:nvPr/>
        </p:nvSpPr>
        <p:spPr>
          <a:xfrm>
            <a:off x="3647728" y="3803253"/>
            <a:ext cx="5637213" cy="417835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25000"/>
              <a:buFont typeface="Rubik" panose="00000500000000000000" pitchFamily="50" charset="-79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Update Reflecting in Splitwise UI (below)</a:t>
            </a:r>
          </a:p>
        </p:txBody>
      </p:sp>
    </p:spTree>
    <p:extLst>
      <p:ext uri="{BB962C8B-B14F-4D97-AF65-F5344CB8AC3E}">
        <p14:creationId xmlns:p14="http://schemas.microsoft.com/office/powerpoint/2010/main" val="673215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12" name="Subtitle 4">
            <a:extLst>
              <a:ext uri="{FF2B5EF4-FFF2-40B4-BE49-F238E27FC236}">
                <a16:creationId xmlns:a16="http://schemas.microsoft.com/office/drawing/2014/main" id="{61F3CD3F-F232-4C05-99BD-D82BF888E893}"/>
              </a:ext>
            </a:extLst>
          </p:cNvPr>
          <p:cNvSpPr>
            <a:spLocks noGrp="1"/>
          </p:cNvSpPr>
          <p:nvPr>
            <p:ph type="subTitle" sz="quarter" idx="4294967295"/>
          </p:nvPr>
        </p:nvSpPr>
        <p:spPr>
          <a:xfrm>
            <a:off x="361200" y="404664"/>
            <a:ext cx="11468100" cy="290513"/>
          </a:xfrm>
        </p:spPr>
        <p:txBody>
          <a:bodyPr/>
          <a:lstStyle/>
          <a:p>
            <a:r>
              <a:rPr lang="en-IN" sz="2000" dirty="0"/>
              <a:t>Workflow </a:t>
            </a:r>
            <a:r>
              <a:rPr lang="en-IN" sz="2000"/>
              <a:t>to demonstrate </a:t>
            </a:r>
            <a:r>
              <a:rPr lang="en-IN" sz="2000" dirty="0"/>
              <a:t>Delete / </a:t>
            </a:r>
            <a:r>
              <a:rPr lang="en-IN" sz="2000" dirty="0" err="1"/>
              <a:t>UnDelete</a:t>
            </a:r>
            <a:r>
              <a:rPr lang="en-IN" sz="2000" dirty="0"/>
              <a:t> existing Expens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B2C6E09-272C-4B47-AEF9-7AE8B9381704}"/>
              </a:ext>
            </a:extLst>
          </p:cNvPr>
          <p:cNvSpPr txBox="1">
            <a:spLocks/>
          </p:cNvSpPr>
          <p:nvPr/>
        </p:nvSpPr>
        <p:spPr>
          <a:xfrm>
            <a:off x="3647728" y="3803253"/>
            <a:ext cx="5637213" cy="417835"/>
          </a:xfrm>
          <a:prstGeom prst="rect">
            <a:avLst/>
          </a:prstGeom>
        </p:spPr>
        <p:txBody>
          <a:bodyPr/>
          <a:lstStyle>
            <a:lvl1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32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4800" indent="-29160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SzPct val="125000"/>
              <a:buFont typeface="Rubik" panose="00000500000000000000" pitchFamily="50" charset="-79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1600" indent="-29160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 typeface="+mj-lt"/>
              <a:buAutoNum type="arabicPeriod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FontTx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720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Clr>
                <a:schemeClr val="tx1"/>
              </a:buClr>
              <a:buSzPct val="85000"/>
              <a:buFontTx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Update Reflecting in Splitwise UI (below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EAD7F00-A6E0-469D-B025-72B315927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7156" y="1128502"/>
            <a:ext cx="6051684" cy="230049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51770D-E07D-4DC9-B37F-7AEB0F9753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9656" y="4198890"/>
            <a:ext cx="6592220" cy="216247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71B5070-436D-49C9-A985-BD834C46FE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28691" y="6069795"/>
            <a:ext cx="2421930" cy="69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502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05</TotalTime>
  <Words>386</Words>
  <Application>Microsoft Office PowerPoint</Application>
  <PresentationFormat>Widescreen</PresentationFormat>
  <Paragraphs>53</Paragraphs>
  <Slides>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Trebuchet MS</vt:lpstr>
      <vt:lpstr>Rubik</vt:lpstr>
      <vt:lpstr>Wingdings</vt:lpstr>
      <vt:lpstr>Symbol</vt:lpstr>
      <vt:lpstr>Arial</vt:lpstr>
      <vt:lpstr>Software AG 2021</vt:lpstr>
      <vt:lpstr>Wm.io Splitwise Provider</vt:lpstr>
      <vt:lpstr>Splitwise</vt:lpstr>
      <vt:lpstr>Splitwise</vt:lpstr>
      <vt:lpstr>Screenshots for workflow</vt:lpstr>
      <vt:lpstr>PowerPoint Presentation</vt:lpstr>
      <vt:lpstr>PowerPoint Presentation</vt:lpstr>
      <vt:lpstr>PowerPoint Presentation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B A, Srinidhi</cp:lastModifiedBy>
  <cp:revision>1</cp:revision>
  <dcterms:created xsi:type="dcterms:W3CDTF">2022-01-10T12:32:13Z</dcterms:created>
  <dcterms:modified xsi:type="dcterms:W3CDTF">2022-01-28T08:22:08Z</dcterms:modified>
</cp:coreProperties>
</file>